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3" r:id="rId4"/>
  </p:sldMasterIdLst>
  <p:notesMasterIdLst>
    <p:notesMasterId r:id="rId10"/>
  </p:notesMasterIdLst>
  <p:sldIdLst>
    <p:sldId id="4677" r:id="rId5"/>
    <p:sldId id="4671" r:id="rId6"/>
    <p:sldId id="12001" r:id="rId7"/>
    <p:sldId id="12002" r:id="rId8"/>
    <p:sldId id="12004" r:id="rId9"/>
  </p:sldIdLst>
  <p:sldSz cx="9144000" cy="5143500" type="screen16x9"/>
  <p:notesSz cx="5143500" cy="9144000"/>
  <p:defaultTextStyle>
    <a:defPPr>
      <a:defRPr lang="en-US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3E549A60-B1A3-B523-E296-657EE536F9B6}" name="Gibson, Jenny" initials="GJ" userId="S::jenny.gibson@ise.fraunhofer.de::1e5f5407-9a1a-44b5-af2b-9e6708059651" providerId="AD"/>
  <p188:author id="{CAC55CBD-B569-5112-591D-12F8FCBB0A53}" name="Özdemir, Özal Emre" initials="ÖÖE" userId="S::oezal.emre.oezdemir@ise.fraunhofer.de::5c1c5fd9-ffb8-4305-bd08-5b993e5f628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821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34B9746C-85DC-710E-F270-FE995B5BBE47}">
  <a:tblStyle styleId="{34B9746C-85DC-710E-F270-FE995B5BBE47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>
              <a:solidFill>
                <a:schemeClr val="lt1"/>
              </a:solidFill>
            </a:ln>
          </a:left>
          <a:right>
            <a:ln w="12700">
              <a:solidFill>
                <a:schemeClr val="lt1"/>
              </a:solidFill>
            </a:ln>
          </a:right>
          <a:top>
            <a:ln w="12700">
              <a:solidFill>
                <a:schemeClr val="lt1"/>
              </a:solidFill>
            </a:ln>
          </a:top>
          <a:bottom>
            <a:ln w="12700">
              <a:solidFill>
                <a:schemeClr val="lt1"/>
              </a:solidFill>
            </a:ln>
          </a:bottom>
          <a:insideH>
            <a:ln w="12700">
              <a:solidFill>
                <a:schemeClr val="lt1"/>
              </a:solidFill>
            </a:ln>
          </a:insideH>
          <a:insideV>
            <a:ln w="12700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  <a:fill>
          <a:solidFill>
            <a:schemeClr val="accent1">
              <a:tint val="40000"/>
            </a:schemeClr>
          </a:solidFill>
        </a:fill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seCell>
      <a:tcStyle>
        <a:tcBdr/>
      </a:tcStyle>
    </a:seCell>
    <a:swCell>
      <a:tcStyle>
        <a:tcBdr/>
      </a:tcStyle>
    </a:swCell>
    <a:firstRow>
      <a:tcTxStyle b="on">
        <a:fontRef idx="minor">
          <a:prstClr val="black"/>
        </a:fontRef>
        <a:schemeClr val="lt1"/>
      </a:tcTxStyle>
      <a:tcStyle>
        <a:tcBdr>
          <a:bottom>
            <a:ln w="38100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38" d="100"/>
          <a:sy n="138" d="100"/>
        </p:scale>
        <p:origin x="834" y="12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Pietro Campana" userId="S::pietro.campana_mdh.se#ext#@fraunhofer.onmicrosoft.com::ac95a23d-66b3-49d4-abf9-e0d7a5c62cb9" providerId="AD" clId="Web-{56CA9EC0-E1DD-313F-B2A7-E7B7B1C729A3}"/>
    <pc:docChg chg="modSld">
      <pc:chgData name="Pietro Campana" userId="S::pietro.campana_mdh.se#ext#@fraunhofer.onmicrosoft.com::ac95a23d-66b3-49d4-abf9-e0d7a5c62cb9" providerId="AD" clId="Web-{56CA9EC0-E1DD-313F-B2A7-E7B7B1C729A3}" dt="2025-02-03T05:54:31.098" v="10" actId="20577"/>
      <pc:docMkLst>
        <pc:docMk/>
      </pc:docMkLst>
      <pc:sldChg chg="addSp delSp modSp">
        <pc:chgData name="Pietro Campana" userId="S::pietro.campana_mdh.se#ext#@fraunhofer.onmicrosoft.com::ac95a23d-66b3-49d4-abf9-e0d7a5c62cb9" providerId="AD" clId="Web-{56CA9EC0-E1DD-313F-B2A7-E7B7B1C729A3}" dt="2025-02-03T05:54:31.098" v="10" actId="20577"/>
        <pc:sldMkLst>
          <pc:docMk/>
          <pc:sldMk cId="833036909" sldId="12001"/>
        </pc:sldMkLst>
        <pc:spChg chg="mod">
          <ac:chgData name="Pietro Campana" userId="S::pietro.campana_mdh.se#ext#@fraunhofer.onmicrosoft.com::ac95a23d-66b3-49d4-abf9-e0d7a5c62cb9" providerId="AD" clId="Web-{56CA9EC0-E1DD-313F-B2A7-E7B7B1C729A3}" dt="2025-02-03T05:54:31.098" v="10" actId="20577"/>
          <ac:spMkLst>
            <pc:docMk/>
            <pc:sldMk cId="833036909" sldId="12001"/>
            <ac:spMk id="6" creationId="{67D7545D-6CB9-E52F-4FD2-5C2F85C92FBE}"/>
          </ac:spMkLst>
        </pc:spChg>
        <pc:picChg chg="add mod">
          <ac:chgData name="Pietro Campana" userId="S::pietro.campana_mdh.se#ext#@fraunhofer.onmicrosoft.com::ac95a23d-66b3-49d4-abf9-e0d7a5c62cb9" providerId="AD" clId="Web-{56CA9EC0-E1DD-313F-B2A7-E7B7B1C729A3}" dt="2025-02-03T05:53:59.035" v="6" actId="1076"/>
          <ac:picMkLst>
            <pc:docMk/>
            <pc:sldMk cId="833036909" sldId="12001"/>
            <ac:picMk id="5" creationId="{338C983F-82E7-2A60-156A-33E36B9E7808}"/>
          </ac:picMkLst>
        </pc:picChg>
      </pc:sldChg>
    </pc:docChg>
  </pc:docChgLst>
  <pc:docChgLst>
    <pc:chgData name="Jahn, Ulrike" userId="e755dc28-2a91-4eab-bb26-e943cf0d1d94" providerId="ADAL" clId="{9A1EBB75-A917-449A-BE69-1848D1F61D22}"/>
    <pc:docChg chg="modSld">
      <pc:chgData name="Jahn, Ulrike" userId="e755dc28-2a91-4eab-bb26-e943cf0d1d94" providerId="ADAL" clId="{9A1EBB75-A917-449A-BE69-1848D1F61D22}" dt="2025-03-18T15:53:47.985" v="30" actId="20577"/>
      <pc:docMkLst>
        <pc:docMk/>
      </pc:docMkLst>
      <pc:sldChg chg="modSp mod">
        <pc:chgData name="Jahn, Ulrike" userId="e755dc28-2a91-4eab-bb26-e943cf0d1d94" providerId="ADAL" clId="{9A1EBB75-A917-449A-BE69-1848D1F61D22}" dt="2025-03-18T15:53:14.044" v="18" actId="20577"/>
        <pc:sldMkLst>
          <pc:docMk/>
          <pc:sldMk cId="2513182152" sldId="4671"/>
        </pc:sldMkLst>
        <pc:spChg chg="mod">
          <ac:chgData name="Jahn, Ulrike" userId="e755dc28-2a91-4eab-bb26-e943cf0d1d94" providerId="ADAL" clId="{9A1EBB75-A917-449A-BE69-1848D1F61D22}" dt="2025-03-18T15:53:14.044" v="18" actId="20577"/>
          <ac:spMkLst>
            <pc:docMk/>
            <pc:sldMk cId="2513182152" sldId="4671"/>
            <ac:spMk id="3" creationId="{D5C43002-AC8D-4A36-9EC7-815616578110}"/>
          </ac:spMkLst>
        </pc:spChg>
      </pc:sldChg>
      <pc:sldChg chg="modSp mod">
        <pc:chgData name="Jahn, Ulrike" userId="e755dc28-2a91-4eab-bb26-e943cf0d1d94" providerId="ADAL" clId="{9A1EBB75-A917-449A-BE69-1848D1F61D22}" dt="2025-03-18T15:50:49.484" v="4" actId="20577"/>
        <pc:sldMkLst>
          <pc:docMk/>
          <pc:sldMk cId="1064434985" sldId="4677"/>
        </pc:sldMkLst>
        <pc:spChg chg="mod">
          <ac:chgData name="Jahn, Ulrike" userId="e755dc28-2a91-4eab-bb26-e943cf0d1d94" providerId="ADAL" clId="{9A1EBB75-A917-449A-BE69-1848D1F61D22}" dt="2025-03-18T15:50:49.484" v="4" actId="20577"/>
          <ac:spMkLst>
            <pc:docMk/>
            <pc:sldMk cId="1064434985" sldId="4677"/>
            <ac:spMk id="4" creationId="{42C8730E-6763-D657-5E9A-5F58418B73C3}"/>
          </ac:spMkLst>
        </pc:spChg>
      </pc:sldChg>
      <pc:sldChg chg="modSp mod">
        <pc:chgData name="Jahn, Ulrike" userId="e755dc28-2a91-4eab-bb26-e943cf0d1d94" providerId="ADAL" clId="{9A1EBB75-A917-449A-BE69-1848D1F61D22}" dt="2025-03-18T15:53:20.574" v="20" actId="20577"/>
        <pc:sldMkLst>
          <pc:docMk/>
          <pc:sldMk cId="833036909" sldId="12001"/>
        </pc:sldMkLst>
        <pc:spChg chg="mod">
          <ac:chgData name="Jahn, Ulrike" userId="e755dc28-2a91-4eab-bb26-e943cf0d1d94" providerId="ADAL" clId="{9A1EBB75-A917-449A-BE69-1848D1F61D22}" dt="2025-03-18T15:53:20.574" v="20" actId="20577"/>
          <ac:spMkLst>
            <pc:docMk/>
            <pc:sldMk cId="833036909" sldId="12001"/>
            <ac:spMk id="3" creationId="{D5C43002-AC8D-4A36-9EC7-815616578110}"/>
          </ac:spMkLst>
        </pc:spChg>
      </pc:sldChg>
      <pc:sldChg chg="modSp mod">
        <pc:chgData name="Jahn, Ulrike" userId="e755dc28-2a91-4eab-bb26-e943cf0d1d94" providerId="ADAL" clId="{9A1EBB75-A917-449A-BE69-1848D1F61D22}" dt="2025-03-18T15:53:30.493" v="24" actId="20577"/>
        <pc:sldMkLst>
          <pc:docMk/>
          <pc:sldMk cId="2787788073" sldId="12002"/>
        </pc:sldMkLst>
        <pc:spChg chg="mod">
          <ac:chgData name="Jahn, Ulrike" userId="e755dc28-2a91-4eab-bb26-e943cf0d1d94" providerId="ADAL" clId="{9A1EBB75-A917-449A-BE69-1848D1F61D22}" dt="2025-03-18T15:53:30.493" v="24" actId="20577"/>
          <ac:spMkLst>
            <pc:docMk/>
            <pc:sldMk cId="2787788073" sldId="12002"/>
            <ac:spMk id="3" creationId="{D5C43002-AC8D-4A36-9EC7-815616578110}"/>
          </ac:spMkLst>
        </pc:spChg>
        <pc:spChg chg="mod">
          <ac:chgData name="Jahn, Ulrike" userId="e755dc28-2a91-4eab-bb26-e943cf0d1d94" providerId="ADAL" clId="{9A1EBB75-A917-449A-BE69-1848D1F61D22}" dt="2025-03-18T15:51:20.910" v="8" actId="20577"/>
          <ac:spMkLst>
            <pc:docMk/>
            <pc:sldMk cId="2787788073" sldId="12002"/>
            <ac:spMk id="7" creationId="{EC756743-330A-DF84-CCE6-094B76954A69}"/>
          </ac:spMkLst>
        </pc:spChg>
      </pc:sldChg>
      <pc:sldChg chg="modSp mod">
        <pc:chgData name="Jahn, Ulrike" userId="e755dc28-2a91-4eab-bb26-e943cf0d1d94" providerId="ADAL" clId="{9A1EBB75-A917-449A-BE69-1848D1F61D22}" dt="2025-03-18T15:53:47.985" v="30" actId="20577"/>
        <pc:sldMkLst>
          <pc:docMk/>
          <pc:sldMk cId="352076152" sldId="12004"/>
        </pc:sldMkLst>
        <pc:spChg chg="mod">
          <ac:chgData name="Jahn, Ulrike" userId="e755dc28-2a91-4eab-bb26-e943cf0d1d94" providerId="ADAL" clId="{9A1EBB75-A917-449A-BE69-1848D1F61D22}" dt="2025-03-18T15:51:39.044" v="10" actId="120"/>
          <ac:spMkLst>
            <pc:docMk/>
            <pc:sldMk cId="352076152" sldId="12004"/>
            <ac:spMk id="8" creationId="{23BC5CE8-1DBC-C8C5-D500-E1271E71F995}"/>
          </ac:spMkLst>
        </pc:spChg>
        <pc:spChg chg="mod">
          <ac:chgData name="Jahn, Ulrike" userId="e755dc28-2a91-4eab-bb26-e943cf0d1d94" providerId="ADAL" clId="{9A1EBB75-A917-449A-BE69-1848D1F61D22}" dt="2025-03-18T15:53:47.985" v="30" actId="20577"/>
          <ac:spMkLst>
            <pc:docMk/>
            <pc:sldMk cId="352076152" sldId="12004"/>
            <ac:spMk id="17" creationId="{14933CA7-0570-0B4F-7612-A4CE3C6F4D2E}"/>
          </ac:spMkLst>
        </pc:spChg>
        <pc:spChg chg="mod">
          <ac:chgData name="Jahn, Ulrike" userId="e755dc28-2a91-4eab-bb26-e943cf0d1d94" providerId="ADAL" clId="{9A1EBB75-A917-449A-BE69-1848D1F61D22}" dt="2025-03-18T15:51:58.730" v="16" actId="20577"/>
          <ac:spMkLst>
            <pc:docMk/>
            <pc:sldMk cId="352076152" sldId="12004"/>
            <ac:spMk id="20" creationId="{5F50DC4F-15B6-17AE-B8F3-38B8ABD57349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7272E4AE-A23F-4D9F-B4EF-A6ED45CEC049}" type="datetimeFigureOut">
              <a:rPr lang="en-GB"/>
              <a:t>18/03/2025</a:t>
            </a:fld>
            <a:endParaRPr lang="en-GB"/>
          </a:p>
        </p:txBody>
      </p:sp>
      <p:sp>
        <p:nvSpPr>
          <p:cNvPr id="6" name="Slide Image Placeholder 3"/>
          <p:cNvSpPr>
            <a:spLocks noGrp="1" noRot="1" noChangeAspect="1"/>
          </p:cNvSpPr>
          <p:nvPr>
            <p:ph type="sldImg" idx="2"/>
          </p:nvPr>
        </p:nvSpPr>
        <p:spPr bwMode="auto">
          <a:xfrm>
            <a:off x="107949" y="739775"/>
            <a:ext cx="6581774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>
              <a:defRPr/>
            </a:pPr>
            <a:endParaRPr lang="en-GB"/>
          </a:p>
        </p:txBody>
      </p:sp>
      <p:sp>
        <p:nvSpPr>
          <p:cNvPr id="7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>
              <a:defRPr/>
            </a:pPr>
            <a:r>
              <a:rPr lang="en-US"/>
              <a:t>Click to edit Master text styles</a:t>
            </a:r>
            <a:endParaRPr/>
          </a:p>
          <a:p>
            <a:pPr lvl="1">
              <a:defRPr/>
            </a:pPr>
            <a:r>
              <a:rPr lang="en-US"/>
              <a:t>Second level</a:t>
            </a:r>
            <a:endParaRPr/>
          </a:p>
          <a:p>
            <a:pPr lvl="2">
              <a:defRPr/>
            </a:pPr>
            <a:r>
              <a:rPr lang="en-US"/>
              <a:t>Third level</a:t>
            </a:r>
            <a:endParaRPr/>
          </a:p>
          <a:p>
            <a:pPr lvl="3">
              <a:defRPr/>
            </a:pPr>
            <a:r>
              <a:rPr lang="en-US"/>
              <a:t>Fourth level</a:t>
            </a:r>
            <a:endParaRPr/>
          </a:p>
          <a:p>
            <a:pPr lvl="4">
              <a:defRPr/>
            </a:pPr>
            <a:r>
              <a:rPr lang="en-US"/>
              <a:t>Fifth level</a:t>
            </a:r>
            <a:endParaRPr lang="en-GB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E0649404-AEEE-4B4E-B616-1BC6E4EEEF5D}" type="slidenum">
              <a:rPr lang="en-GB"/>
              <a:t>‹Nr.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>
      <a:defRPr sz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50832" y="3078039"/>
            <a:ext cx="8316913" cy="519694"/>
          </a:xfrm>
          <a:prstGeom prst="rect">
            <a:avLst/>
          </a:prstGeom>
        </p:spPr>
        <p:txBody>
          <a:bodyPr lIns="0" anchor="b" anchorCtr="0">
            <a:noAutofit/>
          </a:bodyPr>
          <a:lstStyle>
            <a:lvl1pPr marL="161988" marR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24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161988" marR="0" lvl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GB"/>
              <a:t>Title Slide 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3741627"/>
            <a:ext cx="8316912" cy="306684"/>
          </a:xfrm>
          <a:prstGeom prst="rect">
            <a:avLst/>
          </a:prstGeom>
        </p:spPr>
        <p:txBody>
          <a:bodyPr lIns="0">
            <a:noAutofit/>
          </a:bodyPr>
          <a:lstStyle>
            <a:lvl1pPr marL="161988" marR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800" kern="1200" baseline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161988" marR="0" lvl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/>
              <a:t>Name of presenter, affiliation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9034874-11D5-DA4F-9B23-34D9DE8C6D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4169667"/>
            <a:ext cx="8316912" cy="306684"/>
          </a:xfrm>
          <a:prstGeom prst="rect">
            <a:avLst/>
          </a:prstGeom>
        </p:spPr>
        <p:txBody>
          <a:bodyPr lIns="0">
            <a:noAutofit/>
          </a:bodyPr>
          <a:lstStyle>
            <a:lvl1pPr marL="161988" marR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800" kern="1200" baseline="0" dirty="0" smtClean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161988" marR="0" lvl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/>
              <a:t>Location &amp; date of present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0CF8910-3997-4186-A545-A8CE55D63B8A}"/>
              </a:ext>
            </a:extLst>
          </p:cNvPr>
          <p:cNvGrpSpPr/>
          <p:nvPr userDrawn="1"/>
        </p:nvGrpSpPr>
        <p:grpSpPr>
          <a:xfrm>
            <a:off x="0" y="4566602"/>
            <a:ext cx="9144000" cy="576898"/>
            <a:chOff x="0" y="4566602"/>
            <a:chExt cx="9144000" cy="57689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E115815-0F41-46F9-BB8D-BD27EDE65B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566602"/>
              <a:ext cx="3509963" cy="576897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FD94CB0-C6F5-442C-A11F-801B15C89173}"/>
                </a:ext>
              </a:extLst>
            </p:cNvPr>
            <p:cNvSpPr/>
            <p:nvPr userDrawn="1"/>
          </p:nvSpPr>
          <p:spPr>
            <a:xfrm>
              <a:off x="3362325" y="4566602"/>
              <a:ext cx="5781675" cy="576898"/>
            </a:xfrm>
            <a:prstGeom prst="rect">
              <a:avLst/>
            </a:prstGeom>
            <a:solidFill>
              <a:srgbClr val="0044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E591FF45-0F7D-4F07-B6E4-5EA937F398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825" y="1714288"/>
            <a:ext cx="2196767" cy="1104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537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" userDrawn="1">
          <p15:clr>
            <a:srgbClr val="FBAE40"/>
          </p15:clr>
        </p15:guide>
        <p15:guide id="2" orient="horz" pos="826" userDrawn="1">
          <p15:clr>
            <a:srgbClr val="FBAE40"/>
          </p15:clr>
        </p15:guide>
        <p15:guide id="3" pos="5603" userDrawn="1">
          <p15:clr>
            <a:srgbClr val="FBAE40"/>
          </p15:clr>
        </p15:guide>
        <p15:guide id="4" pos="539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441CA57-6943-9F41-9E1E-50E2F585B9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0828" y="218815"/>
            <a:ext cx="7289701" cy="43476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lang="en-US" sz="2400" b="1" kern="1200" baseline="0" dirty="0">
                <a:solidFill>
                  <a:srgbClr val="F4821F"/>
                </a:solidFill>
                <a:uFill>
                  <a:solidFill>
                    <a:schemeClr val="tx2"/>
                  </a:solidFill>
                </a:u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– one 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6A7C0A-1BA5-C74C-BEC1-1A990858C7D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26446" y="1208565"/>
            <a:ext cx="8440119" cy="3362932"/>
          </a:xfrm>
          <a:prstGeom prst="rect">
            <a:avLst/>
          </a:prstGeom>
        </p:spPr>
        <p:txBody>
          <a:bodyPr lIns="0"/>
          <a:lstStyle>
            <a:lvl1pPr marL="269981" indent="-134532">
              <a:spcBef>
                <a:spcPts val="600"/>
              </a:spcBef>
              <a:spcAft>
                <a:spcPts val="600"/>
              </a:spcAft>
              <a:buClr>
                <a:srgbClr val="003C7D"/>
              </a:buClr>
              <a:buFont typeface="Arial" panose="020B0604020202020204" pitchFamily="34" charset="0"/>
              <a:buChar char="•"/>
              <a:defRPr sz="1800" baseline="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04970" indent="-134991">
              <a:spcBef>
                <a:spcPts val="600"/>
              </a:spcBef>
              <a:spcAft>
                <a:spcPts val="600"/>
              </a:spcAft>
              <a:buClr>
                <a:srgbClr val="003C7D"/>
              </a:buClr>
              <a:buFont typeface="Arial" panose="020B0604020202020204" pitchFamily="34" charset="0"/>
              <a:buChar char="•"/>
              <a:defRPr sz="170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539314" indent="-134532">
              <a:spcBef>
                <a:spcPts val="300"/>
              </a:spcBef>
              <a:spcAft>
                <a:spcPts val="300"/>
              </a:spcAft>
              <a:buClr>
                <a:srgbClr val="003C7D"/>
              </a:buClr>
              <a:buFont typeface="Arial" panose="020B0604020202020204" pitchFamily="34" charset="0"/>
              <a:buChar char="•"/>
              <a:defRPr sz="160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675034" indent="-135722">
              <a:spcBef>
                <a:spcPts val="300"/>
              </a:spcBef>
              <a:spcAft>
                <a:spcPts val="300"/>
              </a:spcAft>
              <a:buClr>
                <a:srgbClr val="003C7D"/>
              </a:buClr>
              <a:buFont typeface="Arial" panose="020B0604020202020204" pitchFamily="34" charset="0"/>
              <a:buChar char="•"/>
              <a:defRPr sz="160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809940" indent="-134991">
              <a:spcBef>
                <a:spcPts val="300"/>
              </a:spcBef>
              <a:spcAft>
                <a:spcPts val="300"/>
              </a:spcAft>
              <a:buClr>
                <a:srgbClr val="003C7D"/>
              </a:buClr>
              <a:buFont typeface="Arial" panose="020B0604020202020204" pitchFamily="34" charset="0"/>
              <a:buChar char="•"/>
              <a:defRPr sz="160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ontent slid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A041BF8-9BAF-43B4-B220-52ADAFDF68B7}"/>
              </a:ext>
            </a:extLst>
          </p:cNvPr>
          <p:cNvSpPr txBox="1"/>
          <p:nvPr userDrawn="1"/>
        </p:nvSpPr>
        <p:spPr>
          <a:xfrm rot="16200000">
            <a:off x="-1089194" y="3415786"/>
            <a:ext cx="29025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800" b="1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18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ADFA058-395C-41E3-81A3-9BF3DDBEB86D}"/>
              </a:ext>
            </a:extLst>
          </p:cNvPr>
          <p:cNvCxnSpPr>
            <a:cxnSpLocks/>
          </p:cNvCxnSpPr>
          <p:nvPr userDrawn="1"/>
        </p:nvCxnSpPr>
        <p:spPr>
          <a:xfrm>
            <a:off x="1" y="1070799"/>
            <a:ext cx="7873999" cy="0"/>
          </a:xfrm>
          <a:prstGeom prst="line">
            <a:avLst/>
          </a:prstGeom>
          <a:ln>
            <a:solidFill>
              <a:srgbClr val="F48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oneTexte 1">
            <a:extLst>
              <a:ext uri="{FF2B5EF4-FFF2-40B4-BE49-F238E27FC236}">
                <a16:creationId xmlns:a16="http://schemas.microsoft.com/office/drawing/2014/main" id="{D17CED54-1D9F-4D17-B816-3FBB5510AC75}"/>
              </a:ext>
            </a:extLst>
          </p:cNvPr>
          <p:cNvSpPr txBox="1"/>
          <p:nvPr userDrawn="1"/>
        </p:nvSpPr>
        <p:spPr>
          <a:xfrm>
            <a:off x="8179547" y="4696303"/>
            <a:ext cx="65144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6C6F911-DFDC-4B93-962C-66F0D8D51AD1}" type="slidenum"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" descr="A picture containing clock, fence&#10;&#10;Description automatically generated">
            <a:extLst>
              <a:ext uri="{FF2B5EF4-FFF2-40B4-BE49-F238E27FC236}">
                <a16:creationId xmlns:a16="http://schemas.microsoft.com/office/drawing/2014/main" id="{ACD180F0-DF58-4D42-98CD-411CBBA27E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9528" y="173760"/>
            <a:ext cx="662032" cy="61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663072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46" userDrawn="1">
          <p15:clr>
            <a:srgbClr val="FBAE40"/>
          </p15:clr>
        </p15:guide>
        <p15:guide id="2" pos="159" userDrawn="1">
          <p15:clr>
            <a:srgbClr val="FBAE40"/>
          </p15:clr>
        </p15:guide>
        <p15:guide id="3" orient="horz" pos="1620" userDrawn="1">
          <p15:clr>
            <a:srgbClr val="FBAE40"/>
          </p15:clr>
        </p15:guide>
        <p15:guide id="4" pos="5603" userDrawn="1">
          <p15:clr>
            <a:srgbClr val="FBAE40"/>
          </p15:clr>
        </p15:guide>
        <p15:guide id="5" pos="5397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Graph &amp; Key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C7B6C7-20A7-0644-AFFD-0DC74CEEAA6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0829" y="218815"/>
            <a:ext cx="7123096" cy="43476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lang="en-US" sz="2400" b="1" kern="1200" baseline="0" dirty="0">
                <a:solidFill>
                  <a:srgbClr val="F4821F"/>
                </a:solidFill>
                <a:uFill>
                  <a:solidFill>
                    <a:schemeClr val="tx2"/>
                  </a:solidFill>
                </a:u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 – one lin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3349B83-1EFF-784E-93D0-021CF6186D9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16863" y="4420927"/>
            <a:ext cx="6431743" cy="43476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0" indent="0">
              <a:buNone/>
              <a:defRPr lang="en-US" sz="1200" b="0" kern="1200" baseline="0" dirty="0">
                <a:solidFill>
                  <a:srgbClr val="003C7D"/>
                </a:solidFill>
                <a:uFill>
                  <a:solidFill>
                    <a:schemeClr val="tx2"/>
                  </a:solidFill>
                </a:u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Key point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9246A33C-4CCA-D94F-B63F-FDDF33C594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0831" y="728870"/>
            <a:ext cx="8567735" cy="28437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lang="en-US" sz="1200" kern="1200" dirty="0">
                <a:solidFill>
                  <a:srgbClr val="003C7D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Graph title, centered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844501" y="1075576"/>
            <a:ext cx="7576459" cy="305374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/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79F1FF97-645E-4048-9065-9182BF663448}"/>
              </a:ext>
            </a:extLst>
          </p:cNvPr>
          <p:cNvSpPr txBox="1"/>
          <p:nvPr userDrawn="1"/>
        </p:nvSpPr>
        <p:spPr>
          <a:xfrm rot="16200000">
            <a:off x="-1089194" y="3415786"/>
            <a:ext cx="29025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800" b="1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18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2C8A4C11-F344-4FAA-81B6-12046C2A66E7}"/>
              </a:ext>
            </a:extLst>
          </p:cNvPr>
          <p:cNvSpPr txBox="1"/>
          <p:nvPr userDrawn="1"/>
        </p:nvSpPr>
        <p:spPr>
          <a:xfrm>
            <a:off x="8179547" y="4696303"/>
            <a:ext cx="65144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6C6F911-DFDC-4B93-962C-66F0D8D51AD1}" type="slidenum">
              <a:rPr lang="en-US" sz="900" smtClean="0"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135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Straight Connector 6">
            <a:extLst>
              <a:ext uri="{FF2B5EF4-FFF2-40B4-BE49-F238E27FC236}">
                <a16:creationId xmlns:a16="http://schemas.microsoft.com/office/drawing/2014/main" id="{6CDB6413-C17C-4DB3-8430-8DAFF8093974}"/>
              </a:ext>
            </a:extLst>
          </p:cNvPr>
          <p:cNvCxnSpPr>
            <a:cxnSpLocks/>
          </p:cNvCxnSpPr>
          <p:nvPr userDrawn="1"/>
        </p:nvCxnSpPr>
        <p:spPr>
          <a:xfrm>
            <a:off x="1" y="666544"/>
            <a:ext cx="7873999" cy="0"/>
          </a:xfrm>
          <a:prstGeom prst="line">
            <a:avLst/>
          </a:prstGeom>
          <a:ln>
            <a:solidFill>
              <a:srgbClr val="F48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0" descr="A picture containing clock, fence&#10;&#10;Description automatically generated">
            <a:extLst>
              <a:ext uri="{FF2B5EF4-FFF2-40B4-BE49-F238E27FC236}">
                <a16:creationId xmlns:a16="http://schemas.microsoft.com/office/drawing/2014/main" id="{F1276EED-63C0-4779-9B0A-6D56E5AB22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9528" y="173760"/>
            <a:ext cx="662032" cy="61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05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" userDrawn="1">
          <p15:clr>
            <a:srgbClr val="FBAE40"/>
          </p15:clr>
        </p15:guide>
        <p15:guide id="2" pos="5603" userDrawn="1">
          <p15:clr>
            <a:srgbClr val="FBAE40"/>
          </p15:clr>
        </p15:guide>
        <p15:guide id="3" orient="horz" pos="146" userDrawn="1">
          <p15:clr>
            <a:srgbClr val="FBAE40"/>
          </p15:clr>
        </p15:guide>
        <p15:guide id="4" pos="539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D95F3DF4-8EA0-6440-9F6C-69B61C5548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50831" y="1700700"/>
            <a:ext cx="8316913" cy="519694"/>
          </a:xfrm>
          <a:prstGeom prst="rect">
            <a:avLst/>
          </a:prstGeom>
        </p:spPr>
        <p:txBody>
          <a:bodyPr lIns="0" anchor="ctr" anchorCtr="1">
            <a:noAutofit/>
          </a:bodyPr>
          <a:lstStyle>
            <a:lvl1pPr marL="0" marR="0" indent="0" algn="ctr" defTabSz="6857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2400" b="1" kern="1200" dirty="0">
                <a:solidFill>
                  <a:srgbClr val="F4821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161988" marR="0" lvl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/>
              <a:t>Thank you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835992F8-323D-EF4B-867E-02F746EE31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50832" y="2339080"/>
            <a:ext cx="8316913" cy="293284"/>
          </a:xfrm>
          <a:prstGeom prst="rect">
            <a:avLst/>
          </a:prstGeom>
        </p:spPr>
        <p:txBody>
          <a:bodyPr lIns="0">
            <a:noAutofit/>
          </a:bodyPr>
          <a:lstStyle>
            <a:lvl1pPr marL="161988" marR="0" indent="-161988" algn="ctr" defTabSz="685749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800" kern="1200" baseline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161988" marR="0" lvl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/>
              <a:t>Name, Task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856184C6-4F83-044B-B28D-60A04D01A54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3602" y="2646651"/>
            <a:ext cx="8316913" cy="293284"/>
          </a:xfrm>
          <a:prstGeom prst="rect">
            <a:avLst/>
          </a:prstGeom>
        </p:spPr>
        <p:txBody>
          <a:bodyPr lIns="0">
            <a:noAutofit/>
          </a:bodyPr>
          <a:lstStyle>
            <a:lvl1pPr marL="161988" marR="0" indent="-161988" algn="l" defTabSz="685749" rtl="0" eaLnBrk="1" fontAlgn="auto" latinLnBrk="0" hangingPunct="1">
              <a:lnSpc>
                <a:spcPct val="100000"/>
              </a:lnSpc>
              <a:spcBef>
                <a:spcPts val="7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800" kern="1200" baseline="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161988" marR="0" lvl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/>
              <a:t>email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948FBD9B-28A2-42C7-8E45-0732AA2F8749}"/>
              </a:ext>
            </a:extLst>
          </p:cNvPr>
          <p:cNvSpPr txBox="1"/>
          <p:nvPr userDrawn="1"/>
        </p:nvSpPr>
        <p:spPr>
          <a:xfrm>
            <a:off x="254587" y="129637"/>
            <a:ext cx="1973943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350" b="1">
                <a:latin typeface="Arial Nova" panose="020B0504020202020204" pitchFamily="34" charset="0"/>
              </a:rPr>
              <a:t>www.iea-pvps.org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F74DEAC-5DC1-4765-8A8E-073D29527C02}"/>
              </a:ext>
            </a:extLst>
          </p:cNvPr>
          <p:cNvGrpSpPr/>
          <p:nvPr userDrawn="1"/>
        </p:nvGrpSpPr>
        <p:grpSpPr>
          <a:xfrm>
            <a:off x="0" y="4566602"/>
            <a:ext cx="9144000" cy="576898"/>
            <a:chOff x="0" y="4566602"/>
            <a:chExt cx="9144000" cy="576898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C481B272-5B9D-4754-BD11-72667CB3DB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566602"/>
              <a:ext cx="3509963" cy="576897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DFF1928-C522-45E0-99E5-0999082285CA}"/>
                </a:ext>
              </a:extLst>
            </p:cNvPr>
            <p:cNvSpPr/>
            <p:nvPr userDrawn="1"/>
          </p:nvSpPr>
          <p:spPr>
            <a:xfrm>
              <a:off x="3362325" y="4566602"/>
              <a:ext cx="5781675" cy="576898"/>
            </a:xfrm>
            <a:prstGeom prst="rect">
              <a:avLst/>
            </a:prstGeom>
            <a:solidFill>
              <a:srgbClr val="0044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5" name="Picture 14" descr="A close up of a sign&#10;&#10;Description automatically generated">
            <a:extLst>
              <a:ext uri="{FF2B5EF4-FFF2-40B4-BE49-F238E27FC236}">
                <a16:creationId xmlns:a16="http://schemas.microsoft.com/office/drawing/2014/main" id="{1201AD07-F73F-4811-ACB6-618B74B00CB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2325" y="3129176"/>
            <a:ext cx="2196767" cy="1104605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159" userDrawn="1">
          <p15:clr>
            <a:srgbClr val="FBAE40"/>
          </p15:clr>
        </p15:guide>
        <p15:guide id="2" pos="539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D32D3FA0-B7DE-4E16-8CD9-972489CE2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F8EDE1-E9A9-4B4A-A7FC-09CBD41BA678}" type="datetimeFigureOut">
              <a:rPr lang="de-DE" smtClean="0"/>
              <a:t>18.03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3F083AC-AE53-4130-99C4-AD0CF8C6D6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8FEAE61-15BF-416D-8E56-D890C57B37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F1CA85-FF79-4D0F-AF38-7213FC70270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069930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0204A3-47B0-49A1-BD13-1C1471973F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6D114EF-2DED-4EA3-A72D-3E6CF8BCDF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5AB6304-C17E-4F65-80E5-886B54A32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1A639B-2937-4F58-973C-6F4EB4DDFE24}" type="datetimeFigureOut">
              <a:rPr lang="de-DE" smtClean="0"/>
              <a:t>18.03.2025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25BDEF4-F9F2-4AD1-9F09-E1B70BC685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BE994BA-C693-46D6-A67E-EA0E9C4FD5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D07B57-6F80-4829-A834-1A611074FD2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01455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01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58426" y="251100"/>
            <a:ext cx="8425959" cy="276999"/>
          </a:xfrm>
        </p:spPr>
        <p:txBody>
          <a:bodyPr wrap="square">
            <a:spAutoFit/>
          </a:bodyPr>
          <a:lstStyle>
            <a:lvl1pPr marL="0" indent="0" defTabSz="378000">
              <a:defRPr baseline="0"/>
            </a:lvl1pPr>
          </a:lstStyle>
          <a:p>
            <a:r>
              <a:rPr lang="de-DE"/>
              <a:t>Click </a:t>
            </a:r>
            <a:r>
              <a:rPr lang="de-DE" err="1"/>
              <a:t>to</a:t>
            </a:r>
            <a:r>
              <a:rPr lang="de-DE"/>
              <a:t> </a:t>
            </a:r>
            <a:r>
              <a:rPr lang="de-DE" err="1"/>
              <a:t>edit</a:t>
            </a:r>
            <a:r>
              <a:rPr lang="de-DE"/>
              <a:t> title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58427" y="1329928"/>
            <a:ext cx="8425958" cy="3186113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 baseline="0"/>
            </a:lvl3pPr>
            <a:lvl4pPr>
              <a:defRPr baseline="0"/>
            </a:lvl4pPr>
            <a:lvl5pPr>
              <a:defRPr baseline="0"/>
            </a:lvl5pPr>
          </a:lstStyle>
          <a:p>
            <a:pPr lvl="0"/>
            <a:r>
              <a:rPr lang="en-US" noProof="0"/>
              <a:t>Click to edit text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593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– 1 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>
            <a:extLst>
              <a:ext uri="{FF2B5EF4-FFF2-40B4-BE49-F238E27FC236}">
                <a16:creationId xmlns:a16="http://schemas.microsoft.com/office/drawing/2014/main" id="{73EB3F1D-68CC-4D42-88C6-FD85199577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99292403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5" progId="TCLayout.ActiveDocument.1">
                  <p:embed/>
                </p:oleObj>
              </mc:Choice>
              <mc:Fallback>
                <p:oleObj name="think-cell Folie" r:id="rId3" imgW="344" imgH="345" progId="TCLayout.ActiveDocument.1">
                  <p:embed/>
                  <p:pic>
                    <p:nvPicPr>
                      <p:cNvPr id="11" name="Objekt 10" hidden="1">
                        <a:extLst>
                          <a:ext uri="{FF2B5EF4-FFF2-40B4-BE49-F238E27FC236}">
                            <a16:creationId xmlns:a16="http://schemas.microsoft.com/office/drawing/2014/main" id="{73EB3F1D-68CC-4D42-88C6-FD85199577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3E6397C-9FE6-4A0B-87BC-9E26F4233B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Mastertitelformat bearbeiten</a:t>
            </a:r>
            <a:endParaRPr lang="en-US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8A281D1-4D07-42EA-89AA-EA4C03EDB00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9569" y="583741"/>
            <a:ext cx="8424863" cy="239200"/>
          </a:xfrm>
        </p:spPr>
        <p:txBody>
          <a:bodyPr/>
          <a:lstStyle>
            <a:lvl1pPr>
              <a:defRPr sz="1500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de-DE" err="1"/>
              <a:t>Subline</a:t>
            </a:r>
            <a:endParaRPr lang="en-US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B248F117-35B0-48AA-A219-3A65D069DFE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59569" y="1275160"/>
            <a:ext cx="8424862" cy="3213497"/>
          </a:xfrm>
        </p:spPr>
        <p:txBody>
          <a:bodyPr>
            <a:noAutofit/>
          </a:bodyPr>
          <a:lstStyle>
            <a:lvl1pPr>
              <a:defRPr sz="135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0800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1735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704" r:id="rId2"/>
    <p:sldLayoutId id="2147483703" r:id="rId3"/>
    <p:sldLayoutId id="2147483708" r:id="rId4"/>
    <p:sldLayoutId id="2147483709" r:id="rId5"/>
    <p:sldLayoutId id="2147483710" r:id="rId6"/>
    <p:sldLayoutId id="2147483711" r:id="rId7"/>
    <p:sldLayoutId id="2147483712" r:id="rId8"/>
  </p:sldLayoutIdLst>
  <p:hf hdr="0" ftr="0" dt="0"/>
  <p:txStyles>
    <p:titleStyle>
      <a:lvl1pPr algn="l" defTabSz="685749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1988" indent="-161988" algn="l" defTabSz="685749" rtl="0" eaLnBrk="1" latinLnBrk="0" hangingPunct="1">
        <a:spcBef>
          <a:spcPts val="1650"/>
        </a:spcBef>
        <a:buClr>
          <a:schemeClr val="bg1">
            <a:lumMod val="65000"/>
          </a:schemeClr>
        </a:buClr>
        <a:buSzPct val="100000"/>
        <a:buFont typeface="Calibri" panose="020F050202020403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404970" indent="-134991" algn="l" defTabSz="685749" rtl="0" eaLnBrk="1" latinLnBrk="0" hangingPunct="1">
        <a:spcBef>
          <a:spcPts val="375"/>
        </a:spcBef>
        <a:buClr>
          <a:schemeClr val="bg1">
            <a:lumMod val="65000"/>
          </a:schemeClr>
        </a:buClr>
        <a:buSzPct val="100000"/>
        <a:buFont typeface="Segoe UI" panose="020B0502040204020203" pitchFamily="34" charset="0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66958" indent="-134991" algn="l" defTabSz="685749" rtl="0" eaLnBrk="1" latinLnBrk="0" hangingPunct="1">
        <a:spcBef>
          <a:spcPts val="375"/>
        </a:spcBef>
        <a:buClr>
          <a:schemeClr val="bg1">
            <a:lumMod val="75000"/>
          </a:schemeClr>
        </a:buClr>
        <a:buFont typeface="Segoe UI" panose="020B0502040204020203" pitchFamily="34" charset="0"/>
        <a:buChar char="-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1200060" indent="-171438" algn="l" defTabSz="685749" rtl="0" eaLnBrk="1" latinLnBrk="0" hangingPunct="1">
        <a:spcBef>
          <a:spcPct val="20000"/>
        </a:spcBef>
        <a:buFont typeface="Arial" panose="020B0604020202020204" pitchFamily="34" charset="0"/>
        <a:buChar char="∙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2935" indent="-171438" algn="l" defTabSz="685749" rtl="0" eaLnBrk="1" latinLnBrk="0" hangingPunct="1">
        <a:spcBef>
          <a:spcPct val="20000"/>
        </a:spcBef>
        <a:buFont typeface="Arial" panose="020B0604020202020204" pitchFamily="34" charset="0"/>
        <a:buChar char="▫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09" indent="-171438" algn="l" defTabSz="6857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684" indent="-171438" algn="l" defTabSz="6857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558" indent="-171438" algn="l" defTabSz="6857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433" indent="-171438" algn="l" defTabSz="685749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7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49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24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498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373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246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120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2995" algn="l" defTabSz="685749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39918276-8203-417F-BCD4-DD500BC36B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50833" y="3189970"/>
            <a:ext cx="8316913" cy="519694"/>
          </a:xfrm>
        </p:spPr>
        <p:txBody>
          <a:bodyPr lIns="0" tIns="45720" rIns="91440" bIns="45720" anchor="b" anchorCtr="0">
            <a:noAutofit/>
          </a:bodyPr>
          <a:lstStyle/>
          <a:p>
            <a:pPr marL="161925" indent="-161925">
              <a:lnSpc>
                <a:spcPts val="2800"/>
              </a:lnSpc>
              <a:spcBef>
                <a:spcPts val="600"/>
              </a:spcBef>
            </a:pPr>
            <a:r>
              <a:rPr lang="en-US" sz="2000" dirty="0">
                <a:latin typeface="Arial"/>
                <a:cs typeface="Arial"/>
              </a:rPr>
              <a:t>	Dual Land Use for Agriculture and Solar Power Production: Overview and Performance of Agrivoltaic Systems</a:t>
            </a:r>
            <a:endParaRPr lang="en-US" sz="2000" dirty="0"/>
          </a:p>
        </p:txBody>
      </p:sp>
      <p:pic>
        <p:nvPicPr>
          <p:cNvPr id="2" name="Grafik 1" descr="Ein Bild, das Baum, draußen, Kran enthält.&#10;&#10;Automatisch generierte Beschreibung">
            <a:extLst>
              <a:ext uri="{FF2B5EF4-FFF2-40B4-BE49-F238E27FC236}">
                <a16:creationId xmlns:a16="http://schemas.microsoft.com/office/drawing/2014/main" id="{B46F2864-C6C8-5267-1214-F0B4E1C088F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57"/>
          <a:stretch/>
        </p:blipFill>
        <p:spPr>
          <a:xfrm>
            <a:off x="4114800" y="263419"/>
            <a:ext cx="4537710" cy="2503999"/>
          </a:xfrm>
          <a:prstGeom prst="rect">
            <a:avLst/>
          </a:prstGeom>
        </p:spPr>
      </p:pic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2C8730E-6763-D657-5E9A-5F58418B73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50833" y="3772008"/>
            <a:ext cx="8316912" cy="306684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de-DE" dirty="0"/>
              <a:t>	Max Trommsdorff, Fraunhofer ISE; Pietro Elia Campana, </a:t>
            </a:r>
            <a:r>
              <a:rPr lang="de-DE" dirty="0" err="1"/>
              <a:t>Mälardalen</a:t>
            </a:r>
            <a:r>
              <a:rPr lang="de-DE" dirty="0"/>
              <a:t> University;</a:t>
            </a:r>
          </a:p>
          <a:p>
            <a:pPr>
              <a:spcBef>
                <a:spcPts val="600"/>
              </a:spcBef>
            </a:pPr>
            <a:r>
              <a:rPr lang="de-DE" dirty="0"/>
              <a:t>	Ulrike Jahn, Fraunhofer CSP, Germany; March 2025</a:t>
            </a:r>
          </a:p>
        </p:txBody>
      </p:sp>
      <p:sp>
        <p:nvSpPr>
          <p:cNvPr id="5" name="Textplatzhalter 3">
            <a:extLst>
              <a:ext uri="{FF2B5EF4-FFF2-40B4-BE49-F238E27FC236}">
                <a16:creationId xmlns:a16="http://schemas.microsoft.com/office/drawing/2014/main" id="{2AACBFF5-6041-8CC2-43F5-CAC0352AD21A}"/>
              </a:ext>
            </a:extLst>
          </p:cNvPr>
          <p:cNvSpPr txBox="1">
            <a:spLocks/>
          </p:cNvSpPr>
          <p:nvPr/>
        </p:nvSpPr>
        <p:spPr>
          <a:xfrm>
            <a:off x="5328444" y="4644176"/>
            <a:ext cx="8316912" cy="306684"/>
          </a:xfrm>
          <a:prstGeom prst="rect">
            <a:avLst/>
          </a:prstGeom>
        </p:spPr>
        <p:txBody>
          <a:bodyPr lIns="0">
            <a:noAutofit/>
          </a:bodyPr>
          <a:lstStyle>
            <a:lvl1pPr marL="161988" marR="0" indent="-161988" algn="l" defTabSz="685749" rtl="0" eaLnBrk="1" fontAlgn="auto" latinLnBrk="0" hangingPunct="1">
              <a:lnSpc>
                <a:spcPct val="100000"/>
              </a:lnSpc>
              <a:spcBef>
                <a:spcPts val="165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800" kern="1200" baseline="0" dirty="0" smtClean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04970" indent="-134991" algn="l" defTabSz="685749" rtl="0" eaLnBrk="1" latinLnBrk="0" hangingPunct="1">
              <a:spcBef>
                <a:spcPts val="375"/>
              </a:spcBef>
              <a:buClr>
                <a:schemeClr val="bg1">
                  <a:lumMod val="65000"/>
                </a:schemeClr>
              </a:buClr>
              <a:buSzPct val="100000"/>
              <a:buFont typeface="Segoe UI" panose="020B0502040204020203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6958" indent="-134991" algn="l" defTabSz="685749" rtl="0" eaLnBrk="1" latinLnBrk="0" hangingPunct="1">
              <a:spcBef>
                <a:spcPts val="375"/>
              </a:spcBef>
              <a:buClr>
                <a:schemeClr val="bg1">
                  <a:lumMod val="75000"/>
                </a:schemeClr>
              </a:buClr>
              <a:buFont typeface="Segoe UI" panose="020B0502040204020203" pitchFamily="34" charset="0"/>
              <a:buChar char="-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60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∙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35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▫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09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3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100" dirty="0">
                <a:solidFill>
                  <a:srgbClr val="F4821F"/>
                </a:solidFill>
              </a:rPr>
              <a:t>Task 13 </a:t>
            </a:r>
            <a:r>
              <a:rPr lang="de-DE" sz="1100" dirty="0" err="1">
                <a:solidFill>
                  <a:schemeClr val="bg1"/>
                </a:solidFill>
              </a:rPr>
              <a:t>Reliability</a:t>
            </a:r>
            <a:r>
              <a:rPr lang="de-DE" sz="1100" dirty="0">
                <a:solidFill>
                  <a:schemeClr val="bg1"/>
                </a:solidFill>
              </a:rPr>
              <a:t> and Performance </a:t>
            </a:r>
            <a:r>
              <a:rPr lang="de-DE" sz="1100" dirty="0" err="1">
                <a:solidFill>
                  <a:schemeClr val="bg1"/>
                </a:solidFill>
              </a:rPr>
              <a:t>of</a:t>
            </a:r>
            <a:r>
              <a:rPr lang="de-DE" sz="1100" dirty="0">
                <a:solidFill>
                  <a:schemeClr val="bg1"/>
                </a:solidFill>
              </a:rPr>
              <a:t> PV Systems</a:t>
            </a:r>
          </a:p>
        </p:txBody>
      </p:sp>
    </p:spTree>
    <p:extLst>
      <p:ext uri="{BB962C8B-B14F-4D97-AF65-F5344CB8AC3E}">
        <p14:creationId xmlns:p14="http://schemas.microsoft.com/office/powerpoint/2010/main" val="10644349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DD32B899-DB09-408E-96A9-DE801C5D91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2000" dirty="0"/>
              <a:t>Dual Land Use for Agriculture and Solar Power Production: Overview and Performance of Agrivoltaic System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5C43002-AC8D-4A36-9EC7-8156165781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17634" y="1242193"/>
            <a:ext cx="6105526" cy="3682492"/>
          </a:xfrm>
        </p:spPr>
        <p:txBody>
          <a:bodyPr lIns="0" tIns="45720" rIns="91440" bIns="45720" anchor="t"/>
          <a:lstStyle/>
          <a:p>
            <a:pPr marL="135890" indent="0">
              <a:buNone/>
            </a:pPr>
            <a:r>
              <a:rPr lang="en-US" sz="1500" b="1" dirty="0">
                <a:latin typeface="Arial"/>
                <a:cs typeface="Arial"/>
              </a:rPr>
              <a:t>Overview of Agrivoltaics</a:t>
            </a:r>
          </a:p>
          <a:p>
            <a:pPr marL="269875" indent="-133985"/>
            <a:r>
              <a:rPr lang="en-US" sz="1500" dirty="0">
                <a:latin typeface="Arial"/>
                <a:cs typeface="Arial"/>
              </a:rPr>
              <a:t>A dual land use for agriculture and solar power production provides several possible co-benefits. </a:t>
            </a:r>
          </a:p>
          <a:p>
            <a:pPr marL="269875" indent="-133985"/>
            <a:r>
              <a:rPr lang="en-US" sz="1500" dirty="0">
                <a:latin typeface="Arial"/>
                <a:cs typeface="Arial"/>
              </a:rPr>
              <a:t>Dynamic development of the concept in the last years worldwide.</a:t>
            </a:r>
          </a:p>
          <a:p>
            <a:pPr marL="269875" indent="-133985"/>
            <a:r>
              <a:rPr lang="en-US" sz="1500" dirty="0">
                <a:latin typeface="Arial"/>
                <a:cs typeface="Arial"/>
              </a:rPr>
              <a:t>There are different definitions of agrivoltaics highlighting the need for communication efforts between involved stakeholders. </a:t>
            </a:r>
          </a:p>
          <a:p>
            <a:pPr marL="269875" indent="-133985"/>
            <a:endParaRPr lang="en-US" dirty="0">
              <a:solidFill>
                <a:srgbClr val="FF0000"/>
              </a:solidFill>
              <a:latin typeface="Arial"/>
              <a:cs typeface="Arial"/>
            </a:endParaRPr>
          </a:p>
          <a:p>
            <a:pPr marL="269875" indent="-133985"/>
            <a:endParaRPr lang="en-US" dirty="0"/>
          </a:p>
          <a:p>
            <a:pPr marL="269875" indent="-133985"/>
            <a:endParaRPr lang="en-US" dirty="0"/>
          </a:p>
          <a:p>
            <a:pPr marL="269875" indent="-133985"/>
            <a:endParaRPr lang="en-US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AEA904E9-76BB-134A-A9F3-71F06D2CD17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543" t="2225" r="2123" b="515"/>
          <a:stretch/>
        </p:blipFill>
        <p:spPr>
          <a:xfrm>
            <a:off x="6810702" y="1209633"/>
            <a:ext cx="2015664" cy="2866723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7E8DAB85-7DE6-846F-9707-BD7EB91FCED9}"/>
              </a:ext>
            </a:extLst>
          </p:cNvPr>
          <p:cNvSpPr txBox="1"/>
          <p:nvPr/>
        </p:nvSpPr>
        <p:spPr>
          <a:xfrm>
            <a:off x="6299941" y="4167222"/>
            <a:ext cx="460353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Arial"/>
                <a:cs typeface="Arial"/>
              </a:rPr>
              <a:t>Report IEA-PVPS T13-29:2025</a:t>
            </a:r>
            <a:endParaRPr lang="de-DE" sz="1400" dirty="0"/>
          </a:p>
        </p:txBody>
      </p:sp>
      <p:pic>
        <p:nvPicPr>
          <p:cNvPr id="8" name="Picture 26" descr="Timeline&#10;&#10;Description automatically generated">
            <a:extLst>
              <a:ext uri="{FF2B5EF4-FFF2-40B4-BE49-F238E27FC236}">
                <a16:creationId xmlns:a16="http://schemas.microsoft.com/office/drawing/2014/main" id="{E8320200-FA3E-ED1D-A388-107EC71020B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55" b="21196"/>
          <a:stretch/>
        </p:blipFill>
        <p:spPr bwMode="auto">
          <a:xfrm>
            <a:off x="649843" y="3458687"/>
            <a:ext cx="5696455" cy="168481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4B46E0B5-38F4-F830-9AFC-92C63D83F6DE}"/>
              </a:ext>
            </a:extLst>
          </p:cNvPr>
          <p:cNvSpPr txBox="1"/>
          <p:nvPr/>
        </p:nvSpPr>
        <p:spPr>
          <a:xfrm>
            <a:off x="759412" y="3181634"/>
            <a:ext cx="545309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Arial"/>
                <a:cs typeface="Arial"/>
              </a:rPr>
              <a:t>Timeline of agrivoltaics development</a:t>
            </a:r>
            <a:endParaRPr lang="de-DE" sz="1400" dirty="0"/>
          </a:p>
        </p:txBody>
      </p:sp>
      <p:sp>
        <p:nvSpPr>
          <p:cNvPr id="11" name="TextBox 4">
            <a:extLst>
              <a:ext uri="{FF2B5EF4-FFF2-40B4-BE49-F238E27FC236}">
                <a16:creationId xmlns:a16="http://schemas.microsoft.com/office/drawing/2014/main" id="{4CFDFDD3-DB00-4D03-0132-157C20538ECD}"/>
              </a:ext>
            </a:extLst>
          </p:cNvPr>
          <p:cNvSpPr txBox="1"/>
          <p:nvPr/>
        </p:nvSpPr>
        <p:spPr>
          <a:xfrm>
            <a:off x="5994939" y="4923218"/>
            <a:ext cx="1035645" cy="18466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600" dirty="0">
                <a:solidFill>
                  <a:srgbClr val="222222"/>
                </a:solidFill>
                <a:latin typeface="Arial"/>
                <a:cs typeface="Arial"/>
              </a:rPr>
              <a:t>© Fraunhofer ISE</a:t>
            </a:r>
          </a:p>
        </p:txBody>
      </p:sp>
    </p:spTree>
    <p:extLst>
      <p:ext uri="{BB962C8B-B14F-4D97-AF65-F5344CB8AC3E}">
        <p14:creationId xmlns:p14="http://schemas.microsoft.com/office/powerpoint/2010/main" val="25131821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DD32B899-DB09-408E-96A9-DE801C5D91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2000" dirty="0"/>
              <a:t>Dual Land Use for Agriculture and Solar Power Production: Overview and Performance of Agrivoltaic System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5C43002-AC8D-4A36-9EC7-8156165781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9941" y="1245760"/>
            <a:ext cx="8438821" cy="3682492"/>
          </a:xfrm>
        </p:spPr>
        <p:txBody>
          <a:bodyPr lIns="0" tIns="45720" rIns="91440" bIns="45720" anchor="t"/>
          <a:lstStyle/>
          <a:p>
            <a:pPr marL="135890" indent="0">
              <a:buNone/>
            </a:pPr>
            <a:r>
              <a:rPr lang="en-US" sz="1500" b="1" dirty="0">
                <a:latin typeface="Arial"/>
                <a:cs typeface="Arial"/>
              </a:rPr>
              <a:t>Modelling and Simulation</a:t>
            </a:r>
          </a:p>
          <a:p>
            <a:pPr marL="269875" indent="-133985"/>
            <a:r>
              <a:rPr lang="en-US" sz="1500" dirty="0">
                <a:latin typeface="Arial"/>
                <a:cs typeface="Arial"/>
              </a:rPr>
              <a:t>Modelling and simulation represents an important task to reliably predict agricultural and electrical performance and to optimize system design.</a:t>
            </a:r>
          </a:p>
          <a:p>
            <a:pPr marL="269875" indent="-133985"/>
            <a:r>
              <a:rPr lang="en-US" sz="1500" dirty="0">
                <a:latin typeface="Arial"/>
                <a:cs typeface="Arial"/>
              </a:rPr>
              <a:t>In several countries, the prediction of the agricultural yield is crucial for proving that the project meets the respective legal standards for agrivoltaics.</a:t>
            </a:r>
          </a:p>
          <a:p>
            <a:pPr marL="269875" indent="-133985"/>
            <a:r>
              <a:rPr lang="en-US" sz="1500" dirty="0">
                <a:latin typeface="Arial"/>
                <a:cs typeface="Arial"/>
              </a:rPr>
              <a:t>There is still a lack of comprehensive simulation tools that simultaneously analyze PV performance, and microclimatic factors, and their effects on crop yield. </a:t>
            </a:r>
          </a:p>
          <a:p>
            <a:pPr marL="269875" indent="-133985"/>
            <a:endParaRPr lang="en-US" dirty="0">
              <a:solidFill>
                <a:srgbClr val="FF0000"/>
              </a:solidFill>
              <a:latin typeface="Arial"/>
              <a:cs typeface="Arial"/>
            </a:endParaRPr>
          </a:p>
          <a:p>
            <a:pPr marL="269875" indent="-133985"/>
            <a:endParaRPr lang="en-US" dirty="0"/>
          </a:p>
          <a:p>
            <a:pPr marL="269875" indent="-133985"/>
            <a:endParaRPr lang="en-US" dirty="0"/>
          </a:p>
          <a:p>
            <a:pPr marL="269875" indent="-133985"/>
            <a:endParaRPr lang="en-US" dirty="0"/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67D7545D-6CB9-E52F-4FD2-5C2F85C92FBE}"/>
              </a:ext>
            </a:extLst>
          </p:cNvPr>
          <p:cNvSpPr txBox="1"/>
          <p:nvPr/>
        </p:nvSpPr>
        <p:spPr>
          <a:xfrm>
            <a:off x="1382869" y="3489411"/>
            <a:ext cx="1306893" cy="116955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1400">
                <a:latin typeface="Arial"/>
                <a:cs typeface="Arial"/>
              </a:rPr>
              <a:t>Simplified</a:t>
            </a:r>
            <a:endParaRPr lang="de-DE" sz="1400" dirty="0">
              <a:latin typeface="Segoe UI"/>
              <a:cs typeface="Segoe UI"/>
            </a:endParaRPr>
          </a:p>
          <a:p>
            <a:r>
              <a:rPr lang="en-US" sz="1400" dirty="0">
                <a:latin typeface="Arial"/>
                <a:cs typeface="Arial"/>
              </a:rPr>
              <a:t>workflow for </a:t>
            </a:r>
            <a:r>
              <a:rPr lang="en-US" sz="1400" dirty="0" err="1">
                <a:latin typeface="Arial"/>
                <a:cs typeface="Arial"/>
              </a:rPr>
              <a:t>agrivoltaic</a:t>
            </a:r>
            <a:r>
              <a:rPr lang="en-US" sz="1400" dirty="0">
                <a:latin typeface="Arial"/>
                <a:cs typeface="Arial"/>
              </a:rPr>
              <a:t> systems simulation</a:t>
            </a:r>
            <a:endParaRPr lang="de-DE" sz="1400">
              <a:cs typeface="Segoe UI"/>
            </a:endParaRPr>
          </a:p>
        </p:txBody>
      </p:sp>
      <p:pic>
        <p:nvPicPr>
          <p:cNvPr id="5" name="Picture 4" descr="A diagram of a crop microclimate&#10;&#10;AI-generated content may be incorrect.">
            <a:extLst>
              <a:ext uri="{FF2B5EF4-FFF2-40B4-BE49-F238E27FC236}">
                <a16:creationId xmlns:a16="http://schemas.microsoft.com/office/drawing/2014/main" id="{338C983F-82E7-2A60-156A-33E36B9E78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73865" y="3403830"/>
            <a:ext cx="4985525" cy="1625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03690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Diagram of a diagram of a plant&#10;&#10;Description automatically generated">
            <a:extLst>
              <a:ext uri="{FF2B5EF4-FFF2-40B4-BE49-F238E27FC236}">
                <a16:creationId xmlns:a16="http://schemas.microsoft.com/office/drawing/2014/main" id="{FD835526-A4EE-EED3-0685-1C38C86C02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6435" y="2756744"/>
            <a:ext cx="4036708" cy="2254146"/>
          </a:xfrm>
          <a:prstGeom prst="rect">
            <a:avLst/>
          </a:prstGeom>
        </p:spPr>
      </p:pic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DD32B899-DB09-408E-96A9-DE801C5D91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2000" dirty="0"/>
              <a:t>Dual Land Use for Agriculture and Solar Power Production: Overview and Performance of Agrivoltaic Systems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D5C43002-AC8D-4A36-9EC7-8156165781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93544" y="1251698"/>
            <a:ext cx="8256690" cy="1063988"/>
          </a:xfrm>
        </p:spPr>
        <p:txBody>
          <a:bodyPr lIns="0" tIns="45720" rIns="91440" bIns="45720" anchor="t"/>
          <a:lstStyle/>
          <a:p>
            <a:pPr marL="135890" indent="0">
              <a:buNone/>
            </a:pPr>
            <a:r>
              <a:rPr lang="en-US" sz="1500" b="1" dirty="0">
                <a:latin typeface="Arial"/>
                <a:cs typeface="Arial"/>
              </a:rPr>
              <a:t>Monitoring and Operation and Maintenance (O&amp;M)</a:t>
            </a:r>
          </a:p>
          <a:p>
            <a:pPr marL="269875" indent="-133985"/>
            <a:r>
              <a:rPr lang="en-US" sz="1500" dirty="0">
                <a:latin typeface="Arial"/>
                <a:cs typeface="Arial"/>
              </a:rPr>
              <a:t>Monitoring microclimatic parameters and the agricultural and PV performance is key to better understand interactions and synergies between the agricultural and PV land use. </a:t>
            </a:r>
          </a:p>
          <a:p>
            <a:pPr marL="269875" indent="-133985"/>
            <a:endParaRPr lang="en-US" dirty="0">
              <a:solidFill>
                <a:srgbClr val="FF0000"/>
              </a:solidFill>
              <a:latin typeface="Arial"/>
              <a:cs typeface="Arial"/>
            </a:endParaRPr>
          </a:p>
          <a:p>
            <a:pPr marL="269875" indent="-133985"/>
            <a:endParaRPr lang="en-US" dirty="0"/>
          </a:p>
          <a:p>
            <a:pPr marL="269875" indent="-133985"/>
            <a:endParaRPr lang="en-US" dirty="0"/>
          </a:p>
          <a:p>
            <a:pPr marL="269875" indent="-133985"/>
            <a:endParaRPr lang="en-US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C756743-330A-DF84-CCE6-094B76954A69}"/>
              </a:ext>
            </a:extLst>
          </p:cNvPr>
          <p:cNvSpPr txBox="1"/>
          <p:nvPr/>
        </p:nvSpPr>
        <p:spPr>
          <a:xfrm>
            <a:off x="4362485" y="2315686"/>
            <a:ext cx="4683125" cy="227754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69875" indent="-133985" defTabSz="685749" rtl="0">
              <a:spcBef>
                <a:spcPts val="600"/>
              </a:spcBef>
              <a:spcAft>
                <a:spcPts val="600"/>
              </a:spcAft>
              <a:buClr>
                <a:srgbClr val="003C7D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500" kern="1200" dirty="0">
                <a:solidFill>
                  <a:srgbClr val="003C7D"/>
                </a:solidFill>
                <a:latin typeface="Arial"/>
                <a:cs typeface="Arial"/>
              </a:rPr>
              <a:t>Main O&amp;M aspects are soiling and increased damages or corrosivity of PV components due to farming activities and plant protection agents.</a:t>
            </a:r>
          </a:p>
          <a:p>
            <a:pPr marL="269875" indent="-133985" defTabSz="685749" rtl="0">
              <a:spcBef>
                <a:spcPts val="600"/>
              </a:spcBef>
              <a:spcAft>
                <a:spcPts val="600"/>
              </a:spcAft>
              <a:buClr>
                <a:srgbClr val="003C7D"/>
              </a:buClr>
              <a:buSzPct val="100000"/>
              <a:buFont typeface="Arial" panose="020B0604020202020204" pitchFamily="34" charset="0"/>
              <a:buChar char="•"/>
            </a:pPr>
            <a:r>
              <a:rPr lang="en-US" sz="1500" kern="1200" dirty="0">
                <a:solidFill>
                  <a:srgbClr val="003C7D"/>
                </a:solidFill>
                <a:latin typeface="Arial"/>
                <a:cs typeface="Arial"/>
              </a:rPr>
              <a:t>Due to the few performed R&amp;D works on existing projects and the resulting thin database, many questions remain still open:</a:t>
            </a:r>
          </a:p>
          <a:p>
            <a:pPr marL="727075" lvl="1" indent="-133985" defTabSz="685749">
              <a:spcBef>
                <a:spcPts val="600"/>
              </a:spcBef>
              <a:spcAft>
                <a:spcPts val="600"/>
              </a:spcAft>
              <a:buClr>
                <a:srgbClr val="003C7D"/>
              </a:buClr>
              <a:buSzPct val="100000"/>
              <a:buFont typeface="Courier New" panose="020B0604020202020204" pitchFamily="34" charset="0"/>
              <a:buChar char="o"/>
            </a:pPr>
            <a:r>
              <a:rPr lang="en-US" sz="1100" kern="1200" dirty="0">
                <a:solidFill>
                  <a:srgbClr val="003C7D"/>
                </a:solidFill>
                <a:latin typeface="Arial"/>
                <a:cs typeface="Arial"/>
              </a:rPr>
              <a:t>Effects of shading on crop properties and qualities</a:t>
            </a:r>
            <a:endParaRPr lang="en-US" sz="1100" dirty="0">
              <a:solidFill>
                <a:srgbClr val="F4821F"/>
              </a:solidFill>
              <a:latin typeface="Segoe UI"/>
              <a:cs typeface="Segoe UI"/>
            </a:endParaRPr>
          </a:p>
          <a:p>
            <a:pPr marL="727075" lvl="1" indent="-133985" defTabSz="685749">
              <a:spcBef>
                <a:spcPts val="600"/>
              </a:spcBef>
              <a:spcAft>
                <a:spcPts val="600"/>
              </a:spcAft>
              <a:buClr>
                <a:srgbClr val="003C7D"/>
              </a:buClr>
              <a:buSzPct val="100000"/>
              <a:buFont typeface="Courier New" panose="020B0604020202020204" pitchFamily="34" charset="0"/>
              <a:buChar char="o"/>
            </a:pPr>
            <a:r>
              <a:rPr lang="en-US" sz="1100" kern="1200" dirty="0">
                <a:solidFill>
                  <a:srgbClr val="003C7D"/>
                </a:solidFill>
                <a:latin typeface="Arial"/>
                <a:cs typeface="Arial"/>
              </a:rPr>
              <a:t>Synergies between crop development and PV performances.</a:t>
            </a:r>
            <a:endParaRPr lang="en-US" sz="1100" dirty="0">
              <a:cs typeface="Segoe UI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6801D4A7-5C80-FD42-BD06-3AF19A9F9DDB}"/>
              </a:ext>
            </a:extLst>
          </p:cNvPr>
          <p:cNvSpPr txBox="1"/>
          <p:nvPr/>
        </p:nvSpPr>
        <p:spPr>
          <a:xfrm>
            <a:off x="456435" y="2315686"/>
            <a:ext cx="414936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400" dirty="0">
                <a:latin typeface="Arial"/>
                <a:cs typeface="Arial"/>
              </a:rPr>
              <a:t>Physical interactions within an agrivoltaic system </a:t>
            </a:r>
            <a:endParaRPr lang="de-DE" sz="1400" dirty="0"/>
          </a:p>
        </p:txBody>
      </p:sp>
      <p:sp>
        <p:nvSpPr>
          <p:cNvPr id="9" name="TextBox 4">
            <a:extLst>
              <a:ext uri="{FF2B5EF4-FFF2-40B4-BE49-F238E27FC236}">
                <a16:creationId xmlns:a16="http://schemas.microsoft.com/office/drawing/2014/main" id="{3F09E1DB-234F-94E7-7D80-5514F5EBAD1B}"/>
              </a:ext>
            </a:extLst>
          </p:cNvPr>
          <p:cNvSpPr txBox="1"/>
          <p:nvPr/>
        </p:nvSpPr>
        <p:spPr>
          <a:xfrm>
            <a:off x="4604268" y="4681517"/>
            <a:ext cx="3635519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600" dirty="0">
                <a:solidFill>
                  <a:srgbClr val="222222"/>
                </a:solidFill>
                <a:latin typeface="Arial"/>
                <a:cs typeface="Arial"/>
              </a:rPr>
              <a:t>J. Vernier, “A coupling method using CFD, radiative models and a surface model to simulate the micro-climate.,” Master Thesis, Engineering Mechanics, School of Engineering Sciences (SCI)., KTH, 2023. Accessed: October 2024. [Online]. Available: https:// www.diva-portal.org / smash/ </a:t>
            </a:r>
            <a:r>
              <a:rPr lang="en-US" sz="600" dirty="0" err="1">
                <a:solidFill>
                  <a:srgbClr val="222222"/>
                </a:solidFill>
                <a:latin typeface="Arial"/>
                <a:cs typeface="Arial"/>
              </a:rPr>
              <a:t>record.jsf</a:t>
            </a:r>
            <a:r>
              <a:rPr lang="en-US" sz="600" dirty="0">
                <a:solidFill>
                  <a:srgbClr val="222222"/>
                </a:solidFill>
                <a:latin typeface="Arial"/>
                <a:cs typeface="Arial"/>
              </a:rPr>
              <a:t>? </a:t>
            </a:r>
            <a:r>
              <a:rPr lang="en-US" sz="600" dirty="0" err="1">
                <a:solidFill>
                  <a:srgbClr val="222222"/>
                </a:solidFill>
                <a:latin typeface="Arial"/>
                <a:cs typeface="Arial"/>
              </a:rPr>
              <a:t>pid</a:t>
            </a:r>
            <a:r>
              <a:rPr lang="en-US" sz="600" dirty="0">
                <a:solidFill>
                  <a:srgbClr val="222222"/>
                </a:solidFill>
                <a:latin typeface="Arial"/>
                <a:cs typeface="Arial"/>
              </a:rPr>
              <a:t>= diva2%3A1819058&amp; </a:t>
            </a:r>
            <a:r>
              <a:rPr lang="en-US" sz="600" dirty="0" err="1">
                <a:solidFill>
                  <a:srgbClr val="222222"/>
                </a:solidFill>
                <a:latin typeface="Arial"/>
                <a:cs typeface="Arial"/>
              </a:rPr>
              <a:t>dswid</a:t>
            </a:r>
            <a:r>
              <a:rPr lang="en-US" sz="600" dirty="0">
                <a:solidFill>
                  <a:srgbClr val="222222"/>
                </a:solidFill>
                <a:latin typeface="Arial"/>
                <a:cs typeface="Arial"/>
              </a:rPr>
              <a:t>= 7740</a:t>
            </a:r>
          </a:p>
        </p:txBody>
      </p:sp>
    </p:spTree>
    <p:extLst>
      <p:ext uri="{BB962C8B-B14F-4D97-AF65-F5344CB8AC3E}">
        <p14:creationId xmlns:p14="http://schemas.microsoft.com/office/powerpoint/2010/main" val="278778807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3">
            <a:extLst>
              <a:ext uri="{FF2B5EF4-FFF2-40B4-BE49-F238E27FC236}">
                <a16:creationId xmlns:a16="http://schemas.microsoft.com/office/drawing/2014/main" id="{446CA51C-B055-107E-5828-AACD39ECB4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62" r="6881" b="5381"/>
          <a:stretch/>
        </p:blipFill>
        <p:spPr bwMode="auto">
          <a:xfrm>
            <a:off x="5281685" y="2205855"/>
            <a:ext cx="3600177" cy="1762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23BC5CE8-1DBC-C8C5-D500-E1271E71F995}"/>
              </a:ext>
            </a:extLst>
          </p:cNvPr>
          <p:cNvSpPr txBox="1"/>
          <p:nvPr/>
        </p:nvSpPr>
        <p:spPr>
          <a:xfrm>
            <a:off x="5521163" y="3981806"/>
            <a:ext cx="3117394" cy="59247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ts val="1300"/>
              </a:lnSpc>
              <a:spcAft>
                <a:spcPts val="600"/>
              </a:spcAft>
            </a:pPr>
            <a:r>
              <a:rPr lang="en-US" sz="1200" dirty="0">
                <a:latin typeface="Arial"/>
                <a:cs typeface="Arial"/>
              </a:rPr>
              <a:t>Revenue shares of agriculture and PV production. </a:t>
            </a:r>
            <a:r>
              <a:rPr lang="en-US" sz="1200" dirty="0" err="1">
                <a:latin typeface="Arial"/>
                <a:cs typeface="Arial"/>
              </a:rPr>
              <a:t>Coloured</a:t>
            </a:r>
            <a:r>
              <a:rPr lang="en-US" sz="1200" dirty="0">
                <a:latin typeface="Arial"/>
                <a:cs typeface="Arial"/>
              </a:rPr>
              <a:t> lines indicate variations for the considered countries.</a:t>
            </a:r>
            <a:r>
              <a:rPr lang="en-US" sz="1400" dirty="0">
                <a:latin typeface="Arial"/>
                <a:cs typeface="Arial"/>
              </a:rPr>
              <a:t> </a:t>
            </a:r>
            <a:endParaRPr lang="de-DE" sz="1400" dirty="0">
              <a:latin typeface="Arial"/>
              <a:cs typeface="Arial"/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59964752-8737-5DEC-8A21-D3D9D4772852}"/>
              </a:ext>
            </a:extLst>
          </p:cNvPr>
          <p:cNvSpPr txBox="1"/>
          <p:nvPr/>
        </p:nvSpPr>
        <p:spPr>
          <a:xfrm>
            <a:off x="3835730" y="4711859"/>
            <a:ext cx="4541664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indent="-215900"/>
            <a:r>
              <a:rPr lang="en-US" sz="600" dirty="0">
                <a:solidFill>
                  <a:srgbClr val="222222"/>
                </a:solidFill>
                <a:latin typeface="Arial"/>
                <a:cs typeface="Arial"/>
              </a:rPr>
              <a:t>Source: Trommsdorff et al. (2024):</a:t>
            </a:r>
            <a:r>
              <a:rPr lang="en-IE" sz="600" dirty="0">
                <a:solidFill>
                  <a:srgbClr val="222222"/>
                </a:solidFill>
                <a:latin typeface="Arial"/>
                <a:cs typeface="Arial"/>
              </a:rPr>
              <a:t> Economic performance of agrivoltaic systems: A comprehensive analysis. In: Agrivoltaics: Technical, ecological, commercial and legal aspects. Institution of Engineering and Technology, United Kingdom. ISBN 9781839537974. Book DOI: 10.1049/PBPO245E, Chapter DOI: 10.1049/PBPO245E, ISBN: 9781839537974</a:t>
            </a:r>
            <a:endParaRPr lang="de-DE" dirty="0">
              <a:cs typeface="Segoe UI"/>
            </a:endParaRPr>
          </a:p>
        </p:txBody>
      </p:sp>
      <p:sp>
        <p:nvSpPr>
          <p:cNvPr id="13" name="Espace réservé du texte 1">
            <a:extLst>
              <a:ext uri="{FF2B5EF4-FFF2-40B4-BE49-F238E27FC236}">
                <a16:creationId xmlns:a16="http://schemas.microsoft.com/office/drawing/2014/main" id="{25131646-0AD5-4257-5FEC-2EF0F4698294}"/>
              </a:ext>
            </a:extLst>
          </p:cNvPr>
          <p:cNvSpPr txBox="1">
            <a:spLocks/>
          </p:cNvSpPr>
          <p:nvPr/>
        </p:nvSpPr>
        <p:spPr>
          <a:xfrm>
            <a:off x="250828" y="218815"/>
            <a:ext cx="7289701" cy="43476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algn="l" defTabSz="685749" rtl="0" eaLnBrk="1" latinLnBrk="0" hangingPunct="1">
              <a:spcBef>
                <a:spcPts val="1650"/>
              </a:spcBef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defRPr lang="en-US" sz="2400" b="1" kern="1200" baseline="0" dirty="0">
                <a:solidFill>
                  <a:srgbClr val="F4821F"/>
                </a:solidFill>
                <a:uFill>
                  <a:solidFill>
                    <a:schemeClr val="tx2"/>
                  </a:solidFill>
                </a:u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marL="404970" indent="-134991" algn="l" defTabSz="685749" rtl="0" eaLnBrk="1" latinLnBrk="0" hangingPunct="1">
              <a:spcBef>
                <a:spcPts val="375"/>
              </a:spcBef>
              <a:buClr>
                <a:schemeClr val="bg1">
                  <a:lumMod val="65000"/>
                </a:schemeClr>
              </a:buClr>
              <a:buSzPct val="100000"/>
              <a:buFont typeface="Segoe UI" panose="020B0502040204020203" pitchFamily="34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66958" indent="-134991" algn="l" defTabSz="685749" rtl="0" eaLnBrk="1" latinLnBrk="0" hangingPunct="1">
              <a:spcBef>
                <a:spcPts val="375"/>
              </a:spcBef>
              <a:buClr>
                <a:schemeClr val="bg1">
                  <a:lumMod val="75000"/>
                </a:schemeClr>
              </a:buClr>
              <a:buFont typeface="Segoe UI" panose="020B0502040204020203" pitchFamily="34" charset="0"/>
              <a:buChar char="-"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60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∙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35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▫"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09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3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/>
              <a:t>Dual Land Use for Agriculture and Solar Power Production: Overview and Performance of Agrivoltaic Systems</a:t>
            </a:r>
          </a:p>
        </p:txBody>
      </p:sp>
      <p:sp>
        <p:nvSpPr>
          <p:cNvPr id="17" name="Espace réservé du texte 2">
            <a:extLst>
              <a:ext uri="{FF2B5EF4-FFF2-40B4-BE49-F238E27FC236}">
                <a16:creationId xmlns:a16="http://schemas.microsoft.com/office/drawing/2014/main" id="{14933CA7-0570-0B4F-7612-A4CE3C6F4D2E}"/>
              </a:ext>
            </a:extLst>
          </p:cNvPr>
          <p:cNvSpPr txBox="1">
            <a:spLocks/>
          </p:cNvSpPr>
          <p:nvPr/>
        </p:nvSpPr>
        <p:spPr>
          <a:xfrm>
            <a:off x="293544" y="1251698"/>
            <a:ext cx="8256690" cy="1063988"/>
          </a:xfrm>
          <a:prstGeom prst="rect">
            <a:avLst/>
          </a:prstGeom>
        </p:spPr>
        <p:txBody>
          <a:bodyPr lIns="0" tIns="45720" rIns="91440" bIns="45720" anchor="t"/>
          <a:lstStyle>
            <a:lvl1pPr marL="269981" indent="-134532" algn="l" defTabSz="685749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03C7D"/>
              </a:buClr>
              <a:buSzPct val="100000"/>
              <a:buFont typeface="Arial" panose="020B0604020202020204" pitchFamily="34" charset="0"/>
              <a:buChar char="•"/>
              <a:defRPr sz="1800" kern="1200" baseline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04970" indent="-134991" algn="l" defTabSz="685749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03C7D"/>
              </a:buClr>
              <a:buSzPct val="100000"/>
              <a:buFont typeface="Arial" panose="020B0604020202020204" pitchFamily="34" charset="0"/>
              <a:buChar char="•"/>
              <a:defRPr sz="1700" kern="120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314" indent="-134532" algn="l" defTabSz="685749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003C7D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75034" indent="-135722" algn="l" defTabSz="685749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003C7D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09940" indent="-134991" algn="l" defTabSz="685749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003C7D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809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3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5890" indent="0">
              <a:buNone/>
            </a:pPr>
            <a:r>
              <a:rPr lang="en-US" sz="1500" b="1" dirty="0">
                <a:latin typeface="Arial"/>
                <a:cs typeface="Arial"/>
              </a:rPr>
              <a:t>Legal </a:t>
            </a:r>
            <a:r>
              <a:rPr lang="en-US" sz="1500" b="1">
                <a:latin typeface="Arial"/>
                <a:cs typeface="Arial"/>
              </a:rPr>
              <a:t>and Socio-Economic </a:t>
            </a:r>
            <a:r>
              <a:rPr lang="en-US" sz="1500" b="1" dirty="0">
                <a:latin typeface="Arial"/>
                <a:cs typeface="Arial"/>
              </a:rPr>
              <a:t>Aspects </a:t>
            </a:r>
          </a:p>
          <a:p>
            <a:pPr marL="269875" indent="-133985"/>
            <a:r>
              <a:rPr lang="en-US" sz="1500" dirty="0">
                <a:latin typeface="Arial"/>
                <a:cs typeface="Arial"/>
              </a:rPr>
              <a:t>Relevant identified key drivers for successful project implementation are stakeholder involvement in an early stage, a supportive policy environment and incentive programs, and transparent performance standards. </a:t>
            </a:r>
          </a:p>
          <a:p>
            <a:pPr marL="269875" indent="-133985"/>
            <a:endParaRPr lang="en-US" dirty="0"/>
          </a:p>
        </p:txBody>
      </p:sp>
      <p:sp>
        <p:nvSpPr>
          <p:cNvPr id="20" name="Espace réservé du texte 2">
            <a:extLst>
              <a:ext uri="{FF2B5EF4-FFF2-40B4-BE49-F238E27FC236}">
                <a16:creationId xmlns:a16="http://schemas.microsoft.com/office/drawing/2014/main" id="{5F50DC4F-15B6-17AE-B8F3-38B8ABD57349}"/>
              </a:ext>
            </a:extLst>
          </p:cNvPr>
          <p:cNvSpPr txBox="1">
            <a:spLocks/>
          </p:cNvSpPr>
          <p:nvPr/>
        </p:nvSpPr>
        <p:spPr>
          <a:xfrm>
            <a:off x="293543" y="2463490"/>
            <a:ext cx="5166357" cy="1063988"/>
          </a:xfrm>
          <a:prstGeom prst="rect">
            <a:avLst/>
          </a:prstGeom>
        </p:spPr>
        <p:txBody>
          <a:bodyPr lIns="0" tIns="45720" rIns="91440" bIns="45720" anchor="t"/>
          <a:lstStyle>
            <a:lvl1pPr marL="269981" indent="-134532" algn="l" defTabSz="685749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03C7D"/>
              </a:buClr>
              <a:buSzPct val="100000"/>
              <a:buFont typeface="Arial" panose="020B0604020202020204" pitchFamily="34" charset="0"/>
              <a:buChar char="•"/>
              <a:defRPr sz="1800" kern="1200" baseline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04970" indent="-134991" algn="l" defTabSz="685749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03C7D"/>
              </a:buClr>
              <a:buSzPct val="100000"/>
              <a:buFont typeface="Arial" panose="020B0604020202020204" pitchFamily="34" charset="0"/>
              <a:buChar char="•"/>
              <a:defRPr sz="1700" kern="120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39314" indent="-134532" algn="l" defTabSz="685749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003C7D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675034" indent="-135722" algn="l" defTabSz="685749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003C7D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809940" indent="-134991" algn="l" defTabSz="685749" rtl="0" eaLnBrk="1" latinLnBrk="0" hangingPunct="1">
              <a:spcBef>
                <a:spcPts val="300"/>
              </a:spcBef>
              <a:spcAft>
                <a:spcPts val="300"/>
              </a:spcAft>
              <a:buClr>
                <a:srgbClr val="003C7D"/>
              </a:buClr>
              <a:buFont typeface="Arial" panose="020B0604020202020204" pitchFamily="34" charset="0"/>
              <a:buChar char="•"/>
              <a:defRPr sz="1600" kern="120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885809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684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558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433" indent="-171438" algn="l" defTabSz="68574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133985"/>
            <a:r>
              <a:rPr lang="en-US" sz="1500" dirty="0">
                <a:latin typeface="Arial"/>
                <a:cs typeface="Arial"/>
              </a:rPr>
              <a:t>The increasing importance of societal acceptance underpins the need to address existing limitations, gaps, and future opportunities of socio-economic and legal frameworks in the field of agrivoltaics.</a:t>
            </a:r>
            <a:endParaRPr lang="en-US" sz="1500" dirty="0">
              <a:solidFill>
                <a:srgbClr val="F4821F"/>
              </a:solidFill>
              <a:latin typeface="Arial"/>
              <a:cs typeface="Arial"/>
            </a:endParaRPr>
          </a:p>
          <a:p>
            <a:pPr marL="269875" indent="-133985"/>
            <a:r>
              <a:rPr lang="en-US" sz="1500" dirty="0">
                <a:latin typeface="Arial"/>
                <a:cs typeface="Arial"/>
              </a:rPr>
              <a:t>While - compared to PV - revenues of the agricultural activity are neglectable for arable and permanent grassland farming, applications in horticulture and cash crops make up a relevant share of the overall cashflows. </a:t>
            </a:r>
            <a:endParaRPr lang="en-US" sz="1500" dirty="0">
              <a:solidFill>
                <a:srgbClr val="F4821F"/>
              </a:solidFill>
              <a:latin typeface="Arial"/>
              <a:cs typeface="Arial"/>
            </a:endParaRPr>
          </a:p>
          <a:p>
            <a:pPr marL="269875" indent="-133985"/>
            <a:endParaRPr lang="en-US" sz="1500" dirty="0">
              <a:solidFill>
                <a:srgbClr val="F4821F"/>
              </a:solidFill>
            </a:endParaRPr>
          </a:p>
          <a:p>
            <a:pPr marL="269875" indent="-133985"/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35207615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B - New branding v5 (2)">
  <a:themeElements>
    <a:clrScheme name="Custom 1">
      <a:dk1>
        <a:srgbClr val="F4821F"/>
      </a:dk1>
      <a:lt1>
        <a:sysClr val="window" lastClr="FFFFFF"/>
      </a:lt1>
      <a:dk2>
        <a:srgbClr val="10307D"/>
      </a:dk2>
      <a:lt2>
        <a:srgbClr val="FFFFFF"/>
      </a:lt2>
      <a:accent1>
        <a:srgbClr val="10307D"/>
      </a:accent1>
      <a:accent2>
        <a:srgbClr val="10307D"/>
      </a:accent2>
      <a:accent3>
        <a:srgbClr val="F4821F"/>
      </a:accent3>
      <a:accent4>
        <a:srgbClr val="F4821F"/>
      </a:accent4>
      <a:accent5>
        <a:srgbClr val="10307D"/>
      </a:accent5>
      <a:accent6>
        <a:srgbClr val="10307D"/>
      </a:accent6>
      <a:hlink>
        <a:srgbClr val="F4821F"/>
      </a:hlink>
      <a:folHlink>
        <a:srgbClr val="F4821F"/>
      </a:folHlink>
    </a:clrScheme>
    <a:fontScheme name="IEA template">
      <a:majorFont>
        <a:latin typeface="Century Gothic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95000"/>
          </a:schemeClr>
        </a:solidFill>
        <a:ln>
          <a:noFill/>
        </a:ln>
      </a:spPr>
      <a:bodyPr rtlCol="0" anchor="ctr"/>
      <a:lstStyle>
        <a:defPPr algn="ctr">
          <a:defRPr sz="1200">
            <a:latin typeface="Segoe UI" panose="020B0502040204020203" pitchFamily="34" charset="0"/>
            <a:cs typeface="Segoe UI" panose="020B05020402040202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4" id="{F39241C8-7B32-6A43-B0A8-3CE245A73584}" vid="{7F805EB4-DE15-E642-859E-CC7D6EBEE15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983a6927-6998-4ff6-93f9-472b5ddef582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9D5CB6F85F73647953D1642A5D820CC" ma:contentTypeVersion="12" ma:contentTypeDescription="Ein neues Dokument erstellen." ma:contentTypeScope="" ma:versionID="f6bc098c7fafd3476a3da58b9491ccf5">
  <xsd:schema xmlns:xsd="http://www.w3.org/2001/XMLSchema" xmlns:xs="http://www.w3.org/2001/XMLSchema" xmlns:p="http://schemas.microsoft.com/office/2006/metadata/properties" xmlns:ns2="983a6927-6998-4ff6-93f9-472b5ddef582" targetNamespace="http://schemas.microsoft.com/office/2006/metadata/properties" ma:root="true" ma:fieldsID="941419a7b3d56b6483c1a37dc7ad5f72" ns2:_="">
    <xsd:import namespace="983a6927-6998-4ff6-93f9-472b5ddef58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lcf76f155ced4ddcb4097134ff3c332f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3a6927-6998-4ff6-93f9-472b5ddef58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3" nillable="true" ma:taxonomy="true" ma:internalName="lcf76f155ced4ddcb4097134ff3c332f" ma:taxonomyFieldName="MediaServiceImageTags" ma:displayName="Bildmarkierungen" ma:readOnly="false" ma:fieldId="{5cf76f15-5ced-4ddc-b409-7134ff3c332f}" ma:taxonomyMulti="true" ma:sspId="6eb20c4f-c5c2-492b-9954-d638c64bfe9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A0DE528-7FB1-4B05-953B-E13A6D0A661A}">
  <ds:schemaRefs>
    <ds:schemaRef ds:uri="http://purl.org/dc/dcmitype/"/>
    <ds:schemaRef ds:uri="bb3c1d79-18c6-4632-a437-906b397dca21"/>
    <ds:schemaRef ds:uri="http://purl.org/dc/terms/"/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http://purl.org/dc/elements/1.1/"/>
    <ds:schemaRef ds:uri="http://schemas.microsoft.com/office/2006/documentManagement/types"/>
    <ds:schemaRef ds:uri="8a95e9d8-7e96-4a26-bb09-e8e0ff8b7a08"/>
    <ds:schemaRef ds:uri="http://schemas.microsoft.com/office/2006/metadata/properties"/>
    <ds:schemaRef ds:uri="983a6927-6998-4ff6-93f9-472b5ddef582"/>
  </ds:schemaRefs>
</ds:datastoreItem>
</file>

<file path=customXml/itemProps2.xml><?xml version="1.0" encoding="utf-8"?>
<ds:datastoreItem xmlns:ds="http://schemas.openxmlformats.org/officeDocument/2006/customXml" ds:itemID="{C136BBDB-1F39-44C6-92A3-4262E384773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10F5C82-2E30-4FCF-92AC-C48CEBAE001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83a6927-6998-4ff6-93f9-472b5ddef58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01</Words>
  <Application>Microsoft Office PowerPoint</Application>
  <PresentationFormat>Bildschirmpräsentation (16:9)</PresentationFormat>
  <Paragraphs>41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5</vt:i4>
      </vt:variant>
    </vt:vector>
  </HeadingPairs>
  <TitlesOfParts>
    <vt:vector size="12" baseType="lpstr">
      <vt:lpstr>Arial</vt:lpstr>
      <vt:lpstr>Arial Nova</vt:lpstr>
      <vt:lpstr>Calibri</vt:lpstr>
      <vt:lpstr>Courier New</vt:lpstr>
      <vt:lpstr>Segoe UI</vt:lpstr>
      <vt:lpstr>GB - New branding v5 (2)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OLC</dc:creator>
  <cp:keywords/>
  <dc:description/>
  <cp:lastModifiedBy>Jahn, Ulrike</cp:lastModifiedBy>
  <cp:revision>117</cp:revision>
  <dcterms:created xsi:type="dcterms:W3CDTF">2019-06-05T15:43:42Z</dcterms:created>
  <dcterms:modified xsi:type="dcterms:W3CDTF">2025-03-18T15:53:49Z</dcterms:modified>
  <cp:category/>
  <dc:identifier/>
  <cp:contentStatus/>
  <dc:language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9D5CB6F85F73647953D1642A5D820CC</vt:lpwstr>
  </property>
  <property fmtid="{D5CDD505-2E9C-101B-9397-08002B2CF9AE}" pid="3" name="MediaServiceImageTags">
    <vt:lpwstr/>
  </property>
</Properties>
</file>